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  <p:sldMasterId id="2147483672" r:id="rId2"/>
  </p:sldMasterIdLst>
  <p:notesMasterIdLst>
    <p:notesMasterId r:id="rId7"/>
  </p:notesMasterIdLst>
  <p:sldIdLst>
    <p:sldId id="257" r:id="rId3"/>
    <p:sldId id="258" r:id="rId4"/>
    <p:sldId id="262" r:id="rId5"/>
    <p:sldId id="269" r:id="rId6"/>
  </p:sldIdLst>
  <p:sldSz cx="5327650" cy="7559675"/>
  <p:notesSz cx="6797675" cy="992663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14" autoAdjust="0"/>
    <p:restoredTop sz="94712" autoAdjust="0"/>
  </p:normalViewPr>
  <p:slideViewPr>
    <p:cSldViewPr snapToGrid="0">
      <p:cViewPr varScale="1">
        <p:scale>
          <a:sx n="72" d="100"/>
          <a:sy n="72" d="100"/>
        </p:scale>
        <p:origin x="1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BAED0-B7BB-4620-BA1D-AA83CB04042C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19325" y="1241425"/>
            <a:ext cx="23590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1D2092-2DF3-45F4-ABBA-4E238AEE939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398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1pPr>
    <a:lvl2pPr marL="35145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2pPr>
    <a:lvl3pPr marL="7028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3pPr>
    <a:lvl4pPr marL="105434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4pPr>
    <a:lvl5pPr marL="14057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5pPr>
    <a:lvl6pPr marL="175724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6pPr>
    <a:lvl7pPr marL="210869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7pPr>
    <a:lvl8pPr marL="246014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8pPr>
    <a:lvl9pPr marL="281159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tmp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8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tm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37.bin"/><Relationship Id="rId9" Type="http://schemas.openxmlformats.org/officeDocument/2006/relationships/image" Target="../media/image6.tm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62327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76198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2821763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4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248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2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25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007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3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8F01FA-D2FA-4929-BDC2-F7531EF06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C5B4553-FAB7-41D4-811F-DDBC9C302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Tekst">
            <a:extLst>
              <a:ext uri="{FF2B5EF4-FFF2-40B4-BE49-F238E27FC236}">
                <a16:creationId xmlns:a16="http://schemas.microsoft.com/office/drawing/2014/main" id="{8541E840-D4F6-4855-868B-2D9396B96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44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039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F1096C-ADDE-415E-8369-54D689E5E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901543E-350E-4F90-969F-7C29797F3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80730170-CF45-4E3C-8DCC-9D00C3FC7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10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06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7518A4E-1910-458C-8C58-720D2D26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91F0D0-958C-4743-8A60-87DD116B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2C229279-D771-4CDD-9DD8-3B5B558C0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9389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9235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60766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50634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3299554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9841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975085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40091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1854918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0743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3094007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96900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3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12836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A45E2683-CC7C-4840-820C-7E88AABBE515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040292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0973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303FBDD3-EE7B-4849-8678-29ECC797270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585701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23329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298845-F3B1-4AF3-A259-043605EFE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5" y="1331913"/>
            <a:ext cx="4879975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93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18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68DE0C3-FC12-4E7A-BCD8-584A2BA9A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ADC6E596-AE44-45F4-AADE-303856138D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5172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90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6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078BEE8-632E-4739-BE5B-4C2E63A4F1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4" name="Pladsholder til slidenummer 3" descr="sidetal">
            <a:extLst>
              <a:ext uri="{FF2B5EF4-FFF2-40B4-BE49-F238E27FC236}">
                <a16:creationId xmlns:a16="http://schemas.microsoft.com/office/drawing/2014/main" id="{50E53A68-D406-4CD2-9A84-0730F6A7E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47EDABB-1D0A-4FE0-A5E8-7831E91A78D8}"/>
              </a:ext>
            </a:extLst>
          </p:cNvPr>
          <p:cNvSpPr txBox="1"/>
          <p:nvPr userDrawn="1"/>
        </p:nvSpPr>
        <p:spPr>
          <a:xfrm>
            <a:off x="5506227" y="160931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4158850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3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612C24-9A68-4B44-88B5-FF683D6F2D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137EDEF-3FBF-431D-9D12-1C1EBDE5F6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9081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15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60663A37-D07E-42BD-B62E-2E44955F8F5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A30FE740-6457-4361-B9E7-8E1A8CD0E3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9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87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6" name="Pladsholder til tekst 15" descr="under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8A496D-82A3-4396-AE63-E88CD1179B6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A4439CD-6602-4E36-A8F5-FF13537231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27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3435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75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72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86A3235-593C-4097-B484-487C3F7A101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65648868-DD56-441C-BD43-F71EB6E7B6B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1200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4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9BDDF4B2-34ED-4764-9FF0-DC5358B10F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D6006A8-FD0D-4E97-B411-5D7B65BB1E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4480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66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D4C67D6-7802-42F8-A531-11E2FCE998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B4A98CB9-4E4D-4ED0-96AC-6BEA7F70DF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849949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5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CB3757F-925F-4889-8521-6B21513018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A68DF52-D07D-4C24-A55B-7888F53850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42083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37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953BC77-2ADD-4091-9081-36C81731DC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0F19442-57ED-42E8-8BE0-10AF2F0CD9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1189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07964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 descr="tekst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 descr="tekst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 descr="tekst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 descr="tekst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 descr="tekst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10430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96457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128730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96649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9445B1B-0EA0-47B2-9E95-382198E2BA1E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682069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5502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AA846D0-0F5C-4B8C-8966-934CB78B90B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84728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56731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6" y="1331913"/>
            <a:ext cx="4656138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45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82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14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17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96C784FB-AE9F-42F7-B40F-71F0D0FE3319}"/>
              </a:ext>
            </a:extLst>
          </p:cNvPr>
          <p:cNvSpPr txBox="1"/>
          <p:nvPr userDrawn="1"/>
        </p:nvSpPr>
        <p:spPr>
          <a:xfrm>
            <a:off x="5506227" y="163788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49981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98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4159298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 descr="Overskrift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 descr="Tekstinformation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 descr="Sidetal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0931908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C18AB0-A92B-4F48-9298-3BBCFBB11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290924-4F1F-493E-9F37-A7BEC224F85E}"/>
              </a:ext>
            </a:extLst>
          </p:cNvPr>
          <p:cNvSpPr/>
          <p:nvPr userDrawn="1"/>
        </p:nvSpPr>
        <p:spPr>
          <a:xfrm>
            <a:off x="0" y="0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CEA6318-3CAB-48A4-BAE3-3164879F7A07}"/>
              </a:ext>
            </a:extLst>
          </p:cNvPr>
          <p:cNvSpPr/>
          <p:nvPr userDrawn="1"/>
        </p:nvSpPr>
        <p:spPr>
          <a:xfrm>
            <a:off x="0" y="7343775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1760715-A642-46C6-960A-D665F77DF8AB}"/>
              </a:ext>
            </a:extLst>
          </p:cNvPr>
          <p:cNvSpPr/>
          <p:nvPr userDrawn="1"/>
        </p:nvSpPr>
        <p:spPr>
          <a:xfrm rot="16200000">
            <a:off x="-3672000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19712D57-A9A1-4C30-BEAE-3E2612A61279}"/>
              </a:ext>
            </a:extLst>
          </p:cNvPr>
          <p:cNvSpPr/>
          <p:nvPr userDrawn="1"/>
        </p:nvSpPr>
        <p:spPr>
          <a:xfrm rot="16200000">
            <a:off x="1442925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5540CBDD-1D12-488E-B946-0E850EBB3875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08912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78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6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1674">
          <p15:clr>
            <a:srgbClr val="F26B43"/>
          </p15:clr>
        </p15:guide>
        <p15:guide id="3" pos="1397">
          <p15:clr>
            <a:srgbClr val="F26B43"/>
          </p15:clr>
        </p15:guide>
        <p15:guide id="4" pos="1973">
          <p15:clr>
            <a:srgbClr val="F26B43"/>
          </p15:clr>
        </p15:guide>
        <p15:guide id="5" pos="1118">
          <p15:clr>
            <a:srgbClr val="F26B43"/>
          </p15:clr>
        </p15:guide>
        <p15:guide id="6" pos="2235">
          <p15:clr>
            <a:srgbClr val="F26B43"/>
          </p15:clr>
        </p15:guide>
        <p15:guide id="7" pos="279">
          <p15:clr>
            <a:srgbClr val="F26B43"/>
          </p15:clr>
        </p15:guide>
        <p15:guide id="8" pos="3074">
          <p15:clr>
            <a:srgbClr val="F26B43"/>
          </p15:clr>
        </p15:guide>
        <p15:guide id="9" orient="horz" pos="283">
          <p15:clr>
            <a:srgbClr val="F26B43"/>
          </p15:clr>
        </p15:guide>
        <p15:guide id="10" pos="1542">
          <p15:clr>
            <a:srgbClr val="F26B43"/>
          </p15:clr>
        </p15:guide>
        <p15:guide id="11" pos="1814">
          <p15:clr>
            <a:srgbClr val="F26B43"/>
          </p15:clr>
        </p15:guide>
        <p15:guide id="12" pos="136">
          <p15:clr>
            <a:srgbClr val="F26B43"/>
          </p15:clr>
        </p15:guide>
        <p15:guide id="13" pos="3215">
          <p15:clr>
            <a:srgbClr val="F26B43"/>
          </p15:clr>
        </p15:guide>
        <p15:guide id="14" orient="horz" pos="561">
          <p15:clr>
            <a:srgbClr val="F26B43"/>
          </p15:clr>
        </p15:guide>
        <p15:guide id="15" orient="horz" pos="839">
          <p15:clr>
            <a:srgbClr val="F26B43"/>
          </p15:clr>
        </p15:guide>
        <p15:guide id="16" orient="horz" pos="1116">
          <p15:clr>
            <a:srgbClr val="F26B43"/>
          </p15:clr>
        </p15:guide>
        <p15:guide id="17" orient="horz" pos="3648">
          <p15:clr>
            <a:srgbClr val="F26B43"/>
          </p15:clr>
        </p15:guide>
        <p15:guide id="18" orient="horz" pos="3926">
          <p15:clr>
            <a:srgbClr val="F26B43"/>
          </p15:clr>
        </p15:guide>
        <p15:guide id="19" orient="horz" pos="4206">
          <p15:clr>
            <a:srgbClr val="F26B43"/>
          </p15:clr>
        </p15:guide>
        <p15:guide id="20" orient="horz" pos="4484">
          <p15:clr>
            <a:srgbClr val="F26B43"/>
          </p15:clr>
        </p15:guide>
        <p15:guide id="21" orient="horz" pos="4620">
          <p15:clr>
            <a:srgbClr val="F26B43"/>
          </p15:clr>
        </p15:guide>
        <p15:guide id="22" orient="horz" pos="141">
          <p15:clr>
            <a:srgbClr val="F26B43"/>
          </p15:clr>
        </p15:guide>
        <p15:guide id="23" orient="horz" pos="154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658">
          <p15:clr>
            <a:srgbClr val="F26B43"/>
          </p15:clr>
        </p15:guide>
        <p15:guide id="26" orient="horz" pos="2934">
          <p15:clr>
            <a:srgbClr val="F26B43"/>
          </p15:clr>
        </p15:guide>
        <p15:guide id="27" orient="horz" pos="12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4513024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4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5FD37F-0132-4A8C-A8D0-3DA17B46D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D045145B-9A9C-4490-8704-07640E845E5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58972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79" r:id="rId2"/>
    <p:sldLayoutId id="2147483685" r:id="rId3"/>
    <p:sldLayoutId id="2147483686" r:id="rId4"/>
    <p:sldLayoutId id="2147483687" r:id="rId5"/>
    <p:sldLayoutId id="2147483673" r:id="rId6"/>
    <p:sldLayoutId id="2147483706" r:id="rId7"/>
    <p:sldLayoutId id="2147483711" r:id="rId8"/>
    <p:sldLayoutId id="2147483731" r:id="rId9"/>
    <p:sldLayoutId id="2147483746" r:id="rId10"/>
    <p:sldLayoutId id="2147483708" r:id="rId11"/>
    <p:sldLayoutId id="2147483747" r:id="rId12"/>
    <p:sldLayoutId id="2147483777" r:id="rId13"/>
    <p:sldLayoutId id="2147483709" r:id="rId14"/>
    <p:sldLayoutId id="2147483730" r:id="rId15"/>
    <p:sldLayoutId id="2147483710" r:id="rId16"/>
    <p:sldLayoutId id="2147483725" r:id="rId17"/>
    <p:sldLayoutId id="2147483726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 userDrawn="1">
          <p15:clr>
            <a:srgbClr val="F26B43"/>
          </p15:clr>
        </p15:guide>
        <p15:guide id="2" pos="1674" userDrawn="1">
          <p15:clr>
            <a:srgbClr val="F26B43"/>
          </p15:clr>
        </p15:guide>
        <p15:guide id="3" pos="1397" userDrawn="1">
          <p15:clr>
            <a:srgbClr val="F26B43"/>
          </p15:clr>
        </p15:guide>
        <p15:guide id="4" pos="1958" userDrawn="1">
          <p15:clr>
            <a:srgbClr val="F26B43"/>
          </p15:clr>
        </p15:guide>
        <p15:guide id="5" pos="1118" userDrawn="1">
          <p15:clr>
            <a:srgbClr val="F26B43"/>
          </p15:clr>
        </p15:guide>
        <p15:guide id="6" pos="2235" userDrawn="1">
          <p15:clr>
            <a:srgbClr val="F26B43"/>
          </p15:clr>
        </p15:guide>
        <p15:guide id="7" pos="279" userDrawn="1">
          <p15:clr>
            <a:srgbClr val="F26B43"/>
          </p15:clr>
        </p15:guide>
        <p15:guide id="8" pos="3074" userDrawn="1">
          <p15:clr>
            <a:srgbClr val="F26B43"/>
          </p15:clr>
        </p15:guide>
        <p15:guide id="9" orient="horz" pos="283" userDrawn="1">
          <p15:clr>
            <a:srgbClr val="F26B43"/>
          </p15:clr>
        </p15:guide>
        <p15:guide id="10" pos="1542" userDrawn="1">
          <p15:clr>
            <a:srgbClr val="F26B43"/>
          </p15:clr>
        </p15:guide>
        <p15:guide id="11" pos="1814" userDrawn="1">
          <p15:clr>
            <a:srgbClr val="F26B43"/>
          </p15:clr>
        </p15:guide>
        <p15:guide id="12" pos="136" userDrawn="1">
          <p15:clr>
            <a:srgbClr val="F26B43"/>
          </p15:clr>
        </p15:guide>
        <p15:guide id="13" pos="3215" userDrawn="1">
          <p15:clr>
            <a:srgbClr val="F26B43"/>
          </p15:clr>
        </p15:guide>
        <p15:guide id="14" orient="horz" pos="561" userDrawn="1">
          <p15:clr>
            <a:srgbClr val="F26B43"/>
          </p15:clr>
        </p15:guide>
        <p15:guide id="15" orient="horz" pos="839" userDrawn="1">
          <p15:clr>
            <a:srgbClr val="F26B43"/>
          </p15:clr>
        </p15:guide>
        <p15:guide id="16" orient="horz" pos="1116" userDrawn="1">
          <p15:clr>
            <a:srgbClr val="F26B43"/>
          </p15:clr>
        </p15:guide>
        <p15:guide id="17" orient="horz" pos="3648" userDrawn="1">
          <p15:clr>
            <a:srgbClr val="F26B43"/>
          </p15:clr>
        </p15:guide>
        <p15:guide id="18" orient="horz" pos="3926" userDrawn="1">
          <p15:clr>
            <a:srgbClr val="F26B43"/>
          </p15:clr>
        </p15:guide>
        <p15:guide id="19" orient="horz" pos="4206" userDrawn="1">
          <p15:clr>
            <a:srgbClr val="F26B43"/>
          </p15:clr>
        </p15:guide>
        <p15:guide id="20" orient="horz" pos="4484" userDrawn="1">
          <p15:clr>
            <a:srgbClr val="F26B43"/>
          </p15:clr>
        </p15:guide>
        <p15:guide id="21" orient="horz" pos="4620" userDrawn="1">
          <p15:clr>
            <a:srgbClr val="F26B43"/>
          </p15:clr>
        </p15:guide>
        <p15:guide id="22" orient="horz" pos="141" userDrawn="1">
          <p15:clr>
            <a:srgbClr val="F26B43"/>
          </p15:clr>
        </p15:guide>
        <p15:guide id="23" orient="horz" pos="154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658" userDrawn="1">
          <p15:clr>
            <a:srgbClr val="F26B43"/>
          </p15:clr>
        </p15:guide>
        <p15:guide id="26" orient="horz" pos="2934" userDrawn="1">
          <p15:clr>
            <a:srgbClr val="F26B43"/>
          </p15:clr>
        </p15:guide>
        <p15:guide id="27" orient="horz" pos="12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1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undsoeomsorgscenter.roskilde.dk/da-dk/begivenheder/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65000" t="1000" r="-3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6DAAE9-7EFB-410F-BBDE-41DD202958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50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dertitel 4"/>
          <p:cNvSpPr>
            <a:spLocks noGrp="1"/>
          </p:cNvSpPr>
          <p:nvPr>
            <p:ph type="subTitle" idx="1"/>
          </p:nvPr>
        </p:nvSpPr>
        <p:spPr>
          <a:xfrm>
            <a:off x="495299" y="6526239"/>
            <a:ext cx="2976609" cy="311441"/>
          </a:xfrm>
        </p:spPr>
        <p:txBody>
          <a:bodyPr>
            <a:noAutofit/>
          </a:bodyPr>
          <a:lstStyle/>
          <a:p>
            <a:r>
              <a:rPr lang="da-DK" sz="1600" b="1" dirty="0" smtClean="0">
                <a:solidFill>
                  <a:schemeClr val="accent5"/>
                </a:solidFill>
              </a:rPr>
              <a:t>Gundsø Omsorgscenter</a:t>
            </a:r>
            <a:endParaRPr lang="da-DK" sz="1600" b="1" dirty="0">
              <a:solidFill>
                <a:schemeClr val="accent5"/>
              </a:solidFill>
            </a:endParaRPr>
          </a:p>
          <a:p>
            <a:endParaRPr lang="da-DK" sz="1600" dirty="0"/>
          </a:p>
          <a:p>
            <a:r>
              <a:rPr lang="da-DK" sz="1600" dirty="0"/>
              <a:t> 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95299" y="1074394"/>
            <a:ext cx="4507051" cy="1641374"/>
          </a:xfrm>
        </p:spPr>
        <p:txBody>
          <a:bodyPr/>
          <a:lstStyle/>
          <a:p>
            <a:r>
              <a:rPr lang="da-DK" sz="3200" dirty="0" smtClean="0"/>
              <a:t>Velkommen til Seniorhøjskolen</a:t>
            </a:r>
            <a:r>
              <a:rPr lang="da-DK" sz="4000" dirty="0" smtClean="0"/>
              <a:t/>
            </a:r>
            <a:br>
              <a:rPr lang="da-DK" sz="4000" dirty="0" smtClean="0"/>
            </a:br>
            <a:r>
              <a:rPr lang="da-DK" sz="3200" b="1" dirty="0" smtClean="0">
                <a:latin typeface="Montserrat Light" panose="00000400000000000000" pitchFamily="2" charset="0"/>
              </a:rPr>
              <a:t>Solkrogen</a:t>
            </a:r>
            <a:r>
              <a:rPr lang="da-DK" sz="1600" dirty="0">
                <a:solidFill>
                  <a:schemeClr val="accent6"/>
                </a:solidFill>
              </a:rPr>
              <a:t/>
            </a:r>
            <a:br>
              <a:rPr lang="da-DK" sz="1600" dirty="0">
                <a:solidFill>
                  <a:schemeClr val="accent6"/>
                </a:solidFill>
              </a:rPr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> </a:t>
            </a:r>
            <a:br>
              <a:rPr lang="da-DK" dirty="0"/>
            </a:br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B88EFBD-7567-4591-B3B6-7AB9CA9B0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</p:spTree>
    <p:extLst>
      <p:ext uri="{BB962C8B-B14F-4D97-AF65-F5344CB8AC3E}">
        <p14:creationId xmlns:p14="http://schemas.microsoft.com/office/powerpoint/2010/main" val="213406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37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031C2B4A-FCA2-4F49-8CDA-A9A45A484E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2978699"/>
            <a:ext cx="3095626" cy="260350"/>
          </a:xfrm>
        </p:spPr>
        <p:txBody>
          <a:bodyPr/>
          <a:lstStyle/>
          <a:p>
            <a:r>
              <a:rPr lang="da-DK" dirty="0"/>
              <a:t> </a:t>
            </a:r>
          </a:p>
          <a:p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1D9A974D-0236-4EC7-85BA-C8120355B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513" y="3188474"/>
            <a:ext cx="4071937" cy="3848051"/>
          </a:xfrm>
        </p:spPr>
        <p:txBody>
          <a:bodyPr numCol="1"/>
          <a:lstStyle/>
          <a:p>
            <a:endParaRPr lang="da-DK" b="1" u="sng" dirty="0" smtClean="0"/>
          </a:p>
          <a:p>
            <a:r>
              <a:rPr lang="da-DK" dirty="0"/>
              <a:t> </a:t>
            </a:r>
          </a:p>
          <a:p>
            <a:endParaRPr lang="da-DK" b="1" dirty="0" smtClean="0"/>
          </a:p>
          <a:p>
            <a:endParaRPr lang="da-DK" dirty="0"/>
          </a:p>
          <a:p>
            <a:r>
              <a:rPr lang="da-DK" dirty="0"/>
              <a:t> </a:t>
            </a:r>
          </a:p>
          <a:p>
            <a:endParaRPr lang="da-DK" dirty="0"/>
          </a:p>
          <a:p>
            <a:r>
              <a:rPr lang="da-DK" dirty="0"/>
              <a:t> </a:t>
            </a:r>
          </a:p>
          <a:p>
            <a:endParaRPr lang="da-DK" dirty="0"/>
          </a:p>
        </p:txBody>
      </p:sp>
      <p:sp>
        <p:nvSpPr>
          <p:cNvPr id="10" name="Pladsholder til tekst 5">
            <a:extLst>
              <a:ext uri="{FF2B5EF4-FFF2-40B4-BE49-F238E27FC236}">
                <a16:creationId xmlns:a16="http://schemas.microsoft.com/office/drawing/2014/main" id="{4B88EFBD-7567-4591-B3B6-7AB9CA9B0943}"/>
              </a:ext>
            </a:extLst>
          </p:cNvPr>
          <p:cNvSpPr txBox="1">
            <a:spLocks/>
          </p:cNvSpPr>
          <p:nvPr/>
        </p:nvSpPr>
        <p:spPr>
          <a:xfrm>
            <a:off x="863029" y="3667875"/>
            <a:ext cx="3748400" cy="34339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30" indent="0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5" indent="0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65006" indent="-133182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Char char="•"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31371" indent="-133182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Char char="•"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7735" indent="-133182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Char char="•"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64100" indent="-133182" algn="l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Char char="•"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2" name="Rektangel 1"/>
          <p:cNvSpPr/>
          <p:nvPr/>
        </p:nvSpPr>
        <p:spPr>
          <a:xfrm>
            <a:off x="396170" y="813313"/>
            <a:ext cx="4479479" cy="63863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400" dirty="0" smtClean="0">
                <a:latin typeface="+mj-lt"/>
              </a:rPr>
              <a:t>Seniorhøjskolen Solkrogen</a:t>
            </a:r>
            <a:endParaRPr lang="da-DK" sz="2400" dirty="0">
              <a:latin typeface="+mj-lt"/>
            </a:endParaRPr>
          </a:p>
          <a:p>
            <a:endParaRPr lang="da-DK" sz="1100" dirty="0">
              <a:latin typeface="Aleo" panose="00000500000000000000" pitchFamily="2" charset="0"/>
            </a:endParaRPr>
          </a:p>
          <a:p>
            <a:r>
              <a:rPr lang="da-DK" sz="1200" dirty="0" smtClean="0">
                <a:latin typeface="Aleo" panose="00000500000000000000" pitchFamily="2" charset="0"/>
              </a:rPr>
              <a:t>I Seniorhøjskolen  Solkrogen på Gundsø Omsorgscenter kan du deltage i hyggeligt samvær og fælleskab med andre ligesindet.</a:t>
            </a:r>
          </a:p>
          <a:p>
            <a:r>
              <a:rPr lang="da-DK" sz="1200" dirty="0" smtClean="0">
                <a:latin typeface="Aleo" panose="00000500000000000000" pitchFamily="2" charset="0"/>
              </a:rPr>
              <a:t>Personalet arbejder på at vedligeholde og styrke dine fysiske </a:t>
            </a:r>
          </a:p>
          <a:p>
            <a:r>
              <a:rPr lang="da-DK" sz="1200" dirty="0" smtClean="0">
                <a:latin typeface="Aleo" panose="00000500000000000000" pitchFamily="2" charset="0"/>
              </a:rPr>
              <a:t>og kognitive færdigheder via  bevægelse, motion og forskellige aktiviteter, såsom erindringsdans, banko, udflugter, sang, musik og kreativitet m.m. </a:t>
            </a:r>
          </a:p>
          <a:p>
            <a:endParaRPr lang="da-DK" sz="1200" dirty="0" smtClean="0">
              <a:latin typeface="Aleo" panose="00000500000000000000" pitchFamily="2" charset="0"/>
            </a:endParaRPr>
          </a:p>
          <a:p>
            <a:r>
              <a:rPr lang="da-DK" sz="1200" dirty="0" smtClean="0">
                <a:latin typeface="Aleo" panose="00000500000000000000" pitchFamily="2" charset="0"/>
              </a:rPr>
              <a:t>Du kan starte i  Seniorhøjskolen Solkrogen  ved at blive visiteret gennem kommunen. </a:t>
            </a:r>
          </a:p>
          <a:p>
            <a:r>
              <a:rPr lang="da-DK" sz="1200" dirty="0" smtClean="0">
                <a:latin typeface="Aleo" panose="00000500000000000000" pitchFamily="2" charset="0"/>
              </a:rPr>
              <a:t>Her arbejder vi rehabiliterende, hvilket betyder at vi gør brug af dine ressourcer, for at holde dig selvhjulpen længst muligt i eget hjem. </a:t>
            </a:r>
          </a:p>
          <a:p>
            <a:r>
              <a:rPr lang="da-DK" sz="1200" dirty="0" smtClean="0">
                <a:latin typeface="Aleo" panose="00000500000000000000" pitchFamily="2" charset="0"/>
              </a:rPr>
              <a:t/>
            </a:r>
            <a:br>
              <a:rPr lang="da-DK" sz="1200" dirty="0" smtClean="0">
                <a:latin typeface="Aleo" panose="00000500000000000000" pitchFamily="2" charset="0"/>
              </a:rPr>
            </a:br>
            <a:endParaRPr lang="da-DK" sz="1200" dirty="0">
              <a:latin typeface="Aleo" panose="00000500000000000000" pitchFamily="2" charset="0"/>
            </a:endParaRPr>
          </a:p>
          <a:p>
            <a:r>
              <a:rPr lang="da-DK" sz="1400" b="1" dirty="0" smtClean="0">
                <a:latin typeface="Aleo" panose="00000500000000000000" pitchFamily="2" charset="0"/>
              </a:rPr>
              <a:t>Aktiviteter </a:t>
            </a:r>
          </a:p>
          <a:p>
            <a:r>
              <a:rPr lang="da-DK" sz="1200" dirty="0" smtClean="0">
                <a:latin typeface="Aleo" panose="00000500000000000000" pitchFamily="2" charset="0"/>
              </a:rPr>
              <a:t>  </a:t>
            </a:r>
            <a:endParaRPr lang="da-DK" sz="1200" dirty="0">
              <a:latin typeface="Aleo" panose="00000500000000000000" pitchFamily="2" charset="0"/>
            </a:endParaRPr>
          </a:p>
          <a:p>
            <a:r>
              <a:rPr lang="da-DK" sz="1200" dirty="0" smtClean="0">
                <a:latin typeface="Aleo" panose="00000500000000000000" pitchFamily="2" charset="0"/>
              </a:rPr>
              <a:t>Personalet  tilpasser aktiviteterne  til din personlig funktionsniveau, samt individuelt behov.</a:t>
            </a:r>
          </a:p>
          <a:p>
            <a:endParaRPr lang="da-DK" sz="1200" dirty="0">
              <a:latin typeface="Aleo" panose="00000500000000000000" pitchFamily="2" charset="0"/>
            </a:endParaRPr>
          </a:p>
          <a:p>
            <a:r>
              <a:rPr lang="da-DK" sz="1200" dirty="0" smtClean="0">
                <a:latin typeface="Aleo" panose="00000500000000000000" pitchFamily="2" charset="0"/>
              </a:rPr>
              <a:t>Solkrogen er et dejligt sted og vi tilbyder en pallette af aktiviteter, såsom motion, madværksteder, hjerne-gymnastik, kortspil samt andre aktiviteter, som du er medbestemmende  til at forme. </a:t>
            </a:r>
          </a:p>
          <a:p>
            <a:endParaRPr lang="da-DK" sz="1200" dirty="0">
              <a:latin typeface="Aleo" panose="00000500000000000000" pitchFamily="2" charset="0"/>
            </a:endParaRPr>
          </a:p>
          <a:p>
            <a:r>
              <a:rPr lang="da-DK" sz="1200" dirty="0" smtClean="0">
                <a:solidFill>
                  <a:srgbClr val="7030A0"/>
                </a:solidFill>
                <a:latin typeface="Aleo" panose="00000500000000000000" pitchFamily="2" charset="0"/>
              </a:rPr>
              <a:t>Kognitiv </a:t>
            </a:r>
            <a:r>
              <a:rPr lang="da-DK" sz="1200" dirty="0">
                <a:solidFill>
                  <a:srgbClr val="7030A0"/>
                </a:solidFill>
                <a:latin typeface="Aleo" panose="00000500000000000000" pitchFamily="2" charset="0"/>
              </a:rPr>
              <a:t>stimulationsterapi (evidensbaseret gruppeprogram) og </a:t>
            </a:r>
            <a:r>
              <a:rPr lang="da-DK" sz="1200" dirty="0" err="1">
                <a:solidFill>
                  <a:srgbClr val="7030A0"/>
                </a:solidFill>
                <a:latin typeface="Aleo" panose="00000500000000000000" pitchFamily="2" charset="0"/>
              </a:rPr>
              <a:t>DigiRehab</a:t>
            </a:r>
            <a:r>
              <a:rPr lang="da-DK" sz="1200" dirty="0">
                <a:solidFill>
                  <a:srgbClr val="7030A0"/>
                </a:solidFill>
                <a:latin typeface="Aleo" panose="00000500000000000000" pitchFamily="2" charset="0"/>
              </a:rPr>
              <a:t> (individuel tilpasset styrketræning) </a:t>
            </a:r>
            <a:br>
              <a:rPr lang="da-DK" sz="1200" dirty="0">
                <a:solidFill>
                  <a:srgbClr val="7030A0"/>
                </a:solidFill>
                <a:latin typeface="Aleo" panose="00000500000000000000" pitchFamily="2" charset="0"/>
              </a:rPr>
            </a:br>
            <a:r>
              <a:rPr lang="da-DK" sz="1200" dirty="0">
                <a:solidFill>
                  <a:srgbClr val="7030A0"/>
                </a:solidFill>
                <a:latin typeface="Aleo" panose="00000500000000000000" pitchFamily="2" charset="0"/>
              </a:rPr>
              <a:t>er også fokus områder hos os.</a:t>
            </a:r>
          </a:p>
          <a:p>
            <a:endParaRPr lang="da-DK" sz="1200" dirty="0" smtClean="0">
              <a:latin typeface="Aleo" panose="00000500000000000000" pitchFamily="2" charset="0"/>
            </a:endParaRPr>
          </a:p>
          <a:p>
            <a:endParaRPr lang="da-DK" sz="1200" dirty="0" smtClean="0">
              <a:latin typeface="Aleo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297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D1ABC96-AD5A-4CF9-8360-C2BD2C075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</a:t>
            </a:r>
            <a:r>
              <a:rPr lang="da-DK" dirty="0" smtClean="0"/>
              <a:t>TOUR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9D69DC4-8380-46B8-A33A-9B1670131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156" y="2006429"/>
            <a:ext cx="4745599" cy="433341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da-DK" sz="1400" b="1" dirty="0" smtClean="0">
                <a:latin typeface="Aleo" panose="00000500000000000000" pitchFamily="2" charset="0"/>
              </a:rPr>
              <a:t>Hele huset</a:t>
            </a:r>
          </a:p>
          <a:p>
            <a:pPr>
              <a:lnSpc>
                <a:spcPct val="100000"/>
              </a:lnSpc>
            </a:pPr>
            <a:r>
              <a:rPr lang="da-DK" sz="1200" dirty="0" smtClean="0">
                <a:latin typeface="Aleo" panose="00000500000000000000" pitchFamily="2" charset="0"/>
              </a:rPr>
              <a:t>Udover de daglige aktiviteter, tilbyder vi forskellige fælles arrangementer med beboerne i huset, såsom foredrag, musik quiz, koncerter, gudstjeneste, reminiscens aktiviteter, banko og erindringsdans.</a:t>
            </a:r>
          </a:p>
          <a:p>
            <a:pPr>
              <a:lnSpc>
                <a:spcPct val="100000"/>
              </a:lnSpc>
            </a:pPr>
            <a:endParaRPr lang="da-DK" sz="1200" b="1" dirty="0">
              <a:latin typeface="Aleo" panose="000005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da-DK" sz="1400" b="1" dirty="0" smtClean="0">
                <a:latin typeface="Aleo" panose="00000500000000000000" pitchFamily="2" charset="0"/>
              </a:rPr>
              <a:t/>
            </a:r>
            <a:br>
              <a:rPr lang="da-DK" sz="1400" b="1" dirty="0" smtClean="0">
                <a:latin typeface="Aleo" panose="00000500000000000000" pitchFamily="2" charset="0"/>
              </a:rPr>
            </a:br>
            <a:r>
              <a:rPr lang="da-DK" sz="1400" b="1" dirty="0" smtClean="0">
                <a:latin typeface="Aleo" panose="00000500000000000000" pitchFamily="2" charset="0"/>
              </a:rPr>
              <a:t>Uderehabilitering og sanseoplevelser</a:t>
            </a:r>
          </a:p>
          <a:p>
            <a:pPr>
              <a:lnSpc>
                <a:spcPct val="100000"/>
              </a:lnSpc>
            </a:pPr>
            <a:r>
              <a:rPr lang="da-DK" sz="1200" dirty="0" smtClean="0">
                <a:latin typeface="Aleo" panose="00000500000000000000" pitchFamily="2" charset="0"/>
              </a:rPr>
              <a:t>Vi har en dejlig have med et drivhus som vi planter blomster og krydreurter i</a:t>
            </a:r>
          </a:p>
          <a:p>
            <a:pPr>
              <a:lnSpc>
                <a:spcPct val="100000"/>
              </a:lnSpc>
            </a:pPr>
            <a:r>
              <a:rPr lang="da-DK" sz="1200" smtClean="0">
                <a:latin typeface="Aleo" panose="00000500000000000000" pitchFamily="2" charset="0"/>
              </a:rPr>
              <a:t> </a:t>
            </a:r>
            <a:r>
              <a:rPr lang="da-DK" sz="1200" dirty="0" smtClean="0">
                <a:latin typeface="Aleo" panose="00000500000000000000" pitchFamily="2" charset="0"/>
              </a:rPr>
              <a:t>Hele sommeren er vi ude og stimulere vores sanser og nyder de smukke blomster, frugttræer i haven og det omkringliggende udemiljø. </a:t>
            </a:r>
            <a:br>
              <a:rPr lang="da-DK" sz="1200" dirty="0" smtClean="0">
                <a:latin typeface="Aleo" panose="00000500000000000000" pitchFamily="2" charset="0"/>
              </a:rPr>
            </a:br>
            <a:r>
              <a:rPr lang="da-DK" sz="1200" dirty="0" smtClean="0">
                <a:latin typeface="Aleo" panose="00000500000000000000" pitchFamily="2" charset="0"/>
              </a:rPr>
              <a:t>Der er også mulighed for, at få ekstra vind i håret med vores smarte rickshaw cykler. </a:t>
            </a:r>
          </a:p>
          <a:p>
            <a:pPr>
              <a:lnSpc>
                <a:spcPct val="100000"/>
              </a:lnSpc>
            </a:pPr>
            <a:r>
              <a:rPr lang="da-DK" sz="1400" b="1" dirty="0" smtClean="0">
                <a:latin typeface="Aleo" panose="00000500000000000000" pitchFamily="2" charset="0"/>
              </a:rPr>
              <a:t/>
            </a:r>
            <a:br>
              <a:rPr lang="da-DK" sz="1400" b="1" dirty="0" smtClean="0">
                <a:latin typeface="Aleo" panose="00000500000000000000" pitchFamily="2" charset="0"/>
              </a:rPr>
            </a:br>
            <a:r>
              <a:rPr lang="da-DK" sz="1200" dirty="0">
                <a:latin typeface="Aleo" panose="00000500000000000000" pitchFamily="2" charset="0"/>
              </a:rPr>
              <a:t>Personalegruppen består af </a:t>
            </a:r>
            <a:r>
              <a:rPr lang="da-DK" sz="1200" dirty="0" smtClean="0">
                <a:latin typeface="Aleo" panose="00000500000000000000" pitchFamily="2" charset="0"/>
              </a:rPr>
              <a:t>sygehjælpere, social-  </a:t>
            </a:r>
            <a:r>
              <a:rPr lang="da-DK" sz="1200" dirty="0">
                <a:latin typeface="Aleo" panose="00000500000000000000" pitchFamily="2" charset="0"/>
              </a:rPr>
              <a:t/>
            </a:r>
            <a:br>
              <a:rPr lang="da-DK" sz="1200" dirty="0">
                <a:latin typeface="Aleo" panose="00000500000000000000" pitchFamily="2" charset="0"/>
              </a:rPr>
            </a:br>
            <a:r>
              <a:rPr lang="da-DK" sz="1200" dirty="0">
                <a:latin typeface="Aleo" panose="00000500000000000000" pitchFamily="2" charset="0"/>
              </a:rPr>
              <a:t>og </a:t>
            </a:r>
            <a:r>
              <a:rPr lang="da-DK" sz="1200" dirty="0" smtClean="0">
                <a:latin typeface="Aleo" panose="00000500000000000000" pitchFamily="2" charset="0"/>
              </a:rPr>
              <a:t>sundhedsassistenter, samt ergoterapeuter</a:t>
            </a:r>
            <a:endParaRPr lang="da-DK" sz="1200" dirty="0">
              <a:latin typeface="Aleo" panose="00000500000000000000" pitchFamily="2" charset="0"/>
            </a:endParaRPr>
          </a:p>
          <a:p>
            <a:pPr>
              <a:lnSpc>
                <a:spcPct val="100000"/>
              </a:lnSpc>
            </a:pPr>
            <a:endParaRPr lang="da-DK" sz="1400" dirty="0"/>
          </a:p>
          <a:p>
            <a:pPr>
              <a:lnSpc>
                <a:spcPct val="150000"/>
              </a:lnSpc>
            </a:pPr>
            <a:r>
              <a:rPr lang="da-DK" sz="1400" b="1" dirty="0" smtClean="0">
                <a:latin typeface="Aleo" panose="00000500000000000000" pitchFamily="2" charset="0"/>
              </a:rPr>
              <a:t>Vi glæder os til at byde dig velkommen </a:t>
            </a:r>
            <a:r>
              <a:rPr lang="da-DK" sz="1400" b="1" dirty="0" smtClean="0">
                <a:latin typeface="Aleo" panose="00000500000000000000" pitchFamily="2" charset="0"/>
                <a:sym typeface="Wingdings" panose="05000000000000000000" pitchFamily="2" charset="2"/>
              </a:rPr>
              <a:t></a:t>
            </a:r>
            <a:endParaRPr lang="da-DK" sz="1400" b="1" dirty="0" smtClean="0">
              <a:latin typeface="Aleo" panose="00000500000000000000" pitchFamily="2" charset="0"/>
            </a:endParaRPr>
          </a:p>
          <a:p>
            <a:pPr>
              <a:lnSpc>
                <a:spcPct val="150000"/>
              </a:lnSpc>
            </a:pPr>
            <a:endParaRPr lang="da-DK" sz="1200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da-DK" sz="1100" b="1" dirty="0">
                <a:solidFill>
                  <a:srgbClr val="FF0000"/>
                </a:solidFill>
              </a:rPr>
              <a:t> </a:t>
            </a:r>
            <a:endParaRPr lang="da-DK" sz="1100" dirty="0"/>
          </a:p>
          <a:p>
            <a:pPr>
              <a:lnSpc>
                <a:spcPct val="150000"/>
              </a:lnSpc>
            </a:pPr>
            <a:endParaRPr lang="da-DK" sz="1100" dirty="0"/>
          </a:p>
          <a:p>
            <a:pPr>
              <a:lnSpc>
                <a:spcPct val="150000"/>
              </a:lnSpc>
            </a:pPr>
            <a:endParaRPr lang="da-DK" sz="1100" dirty="0" smtClean="0"/>
          </a:p>
          <a:p>
            <a:pPr>
              <a:lnSpc>
                <a:spcPct val="150000"/>
              </a:lnSpc>
            </a:pPr>
            <a:endParaRPr lang="da-DK" sz="1100" dirty="0"/>
          </a:p>
          <a:p>
            <a:pPr>
              <a:lnSpc>
                <a:spcPct val="150000"/>
              </a:lnSpc>
            </a:pPr>
            <a:endParaRPr lang="da-DK" sz="1100" dirty="0" smtClean="0"/>
          </a:p>
          <a:p>
            <a:pPr>
              <a:lnSpc>
                <a:spcPct val="150000"/>
              </a:lnSpc>
            </a:pPr>
            <a:endParaRPr lang="da-DK" sz="1100" dirty="0"/>
          </a:p>
          <a:p>
            <a:pPr>
              <a:lnSpc>
                <a:spcPct val="150000"/>
              </a:lnSpc>
            </a:pPr>
            <a:endParaRPr lang="da-DK" sz="1100" dirty="0" smtClean="0"/>
          </a:p>
          <a:p>
            <a:pPr>
              <a:lnSpc>
                <a:spcPct val="150000"/>
              </a:lnSpc>
            </a:pPr>
            <a:endParaRPr lang="da-DK" sz="1100" dirty="0"/>
          </a:p>
          <a:p>
            <a:pPr>
              <a:lnSpc>
                <a:spcPct val="150000"/>
              </a:lnSpc>
            </a:pPr>
            <a:endParaRPr lang="da-DK" sz="1100" dirty="0" smtClean="0"/>
          </a:p>
          <a:p>
            <a:pPr>
              <a:lnSpc>
                <a:spcPct val="150000"/>
              </a:lnSpc>
            </a:pPr>
            <a:endParaRPr lang="da-DK" sz="1100" dirty="0" smtClean="0"/>
          </a:p>
          <a:p>
            <a:endParaRPr lang="da-DK" sz="1100" dirty="0"/>
          </a:p>
          <a:p>
            <a:endParaRPr lang="da-DK" sz="1100" dirty="0"/>
          </a:p>
          <a:p>
            <a:r>
              <a:rPr lang="da-DK" sz="1100" dirty="0"/>
              <a:t> </a:t>
            </a:r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endParaRPr lang="da-DK" sz="1100" dirty="0"/>
          </a:p>
          <a:p>
            <a:endParaRPr lang="da-DK" sz="1100" dirty="0" smtClean="0"/>
          </a:p>
          <a:p>
            <a:r>
              <a:rPr lang="da-DK" sz="1100" dirty="0"/>
              <a:t>Vind en pølsevogn og et musik arrangement til 50. pers.</a:t>
            </a:r>
          </a:p>
          <a:p>
            <a:endParaRPr lang="da-DK" sz="1100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8" t="39769" r="858" b="34343"/>
          <a:stretch/>
        </p:blipFill>
        <p:spPr>
          <a:xfrm>
            <a:off x="256807" y="0"/>
            <a:ext cx="4753677" cy="164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52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676132"/>
          </a:xfrm>
        </p:spPr>
        <p:txBody>
          <a:bodyPr>
            <a:normAutofit/>
          </a:bodyPr>
          <a:lstStyle/>
          <a:p>
            <a:endParaRPr lang="da-DK" sz="1600" dirty="0" smtClean="0">
              <a:solidFill>
                <a:schemeClr val="accent3">
                  <a:lumMod val="75000"/>
                </a:schemeClr>
              </a:solidFill>
              <a:latin typeface="+mj-lt"/>
            </a:endParaRP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50869" y="713233"/>
            <a:ext cx="4420036" cy="6083807"/>
          </a:xfrm>
        </p:spPr>
        <p:txBody>
          <a:bodyPr>
            <a:noAutofit/>
          </a:bodyPr>
          <a:lstStyle/>
          <a:p>
            <a:r>
              <a:rPr lang="da-DK" sz="2000" dirty="0" smtClean="0">
                <a:latin typeface="+mj-lt"/>
              </a:rPr>
              <a:t>Praktisk information</a:t>
            </a:r>
            <a:endParaRPr lang="da-DK" sz="2000" dirty="0">
              <a:latin typeface="+mj-lt"/>
            </a:endParaRPr>
          </a:p>
          <a:p>
            <a:endParaRPr lang="da-DK" sz="1200" dirty="0"/>
          </a:p>
          <a:p>
            <a:r>
              <a:rPr lang="da-DK" sz="1400" b="1" dirty="0" smtClean="0"/>
              <a:t>Åbningstider      </a:t>
            </a:r>
          </a:p>
          <a:p>
            <a:r>
              <a:rPr lang="da-DK" sz="1200" dirty="0" smtClean="0"/>
              <a:t/>
            </a:r>
            <a:br>
              <a:rPr lang="da-DK" sz="1200" dirty="0" smtClean="0"/>
            </a:br>
            <a:r>
              <a:rPr lang="da-DK" sz="1200" dirty="0" smtClean="0"/>
              <a:t>Solkrogen  : Hverdage </a:t>
            </a:r>
            <a:r>
              <a:rPr lang="da-DK" sz="1200" dirty="0"/>
              <a:t>fra </a:t>
            </a:r>
            <a:r>
              <a:rPr lang="da-DK" sz="1200" dirty="0" smtClean="0"/>
              <a:t>kl.10.0 - 14.30</a:t>
            </a:r>
            <a:br>
              <a:rPr lang="da-DK" sz="1200" dirty="0" smtClean="0"/>
            </a:br>
            <a:endParaRPr lang="da-DK" sz="1200" dirty="0" smtClean="0"/>
          </a:p>
          <a:p>
            <a:r>
              <a:rPr lang="da-DK" sz="1200" dirty="0" smtClean="0"/>
              <a:t>Tlf.: 46 31 73 86 / Telefontid kl. 8.00-10.00. </a:t>
            </a:r>
          </a:p>
          <a:p>
            <a:endParaRPr lang="da-DK" sz="1200" dirty="0" smtClean="0"/>
          </a:p>
          <a:p>
            <a:r>
              <a:rPr lang="da-DK" sz="1200" dirty="0" smtClean="0"/>
              <a:t>Vi har fokus på, at være sammen med borgerne og lave aktiviteter i løbet af dagen, og derfor svarer vi ikke altid med det samme. Hvis du vil være sikker på at komme igennem, så kontakt os i telefontiden som er mellem 8.00-10.00</a:t>
            </a:r>
          </a:p>
          <a:p>
            <a:endParaRPr lang="da-DK" sz="1200" u="sng" dirty="0"/>
          </a:p>
          <a:p>
            <a:r>
              <a:rPr lang="da-DK" sz="1200" u="sng" dirty="0" smtClean="0">
                <a:solidFill>
                  <a:srgbClr val="FF0000"/>
                </a:solidFill>
                <a:hlinkClick r:id="rId2"/>
              </a:rPr>
              <a:t>Se alle aktiviteter </a:t>
            </a:r>
            <a:r>
              <a:rPr lang="da-DK" sz="1200" u="sng" dirty="0">
                <a:solidFill>
                  <a:srgbClr val="FF0000"/>
                </a:solidFill>
                <a:hlinkClick r:id="rId2"/>
              </a:rPr>
              <a:t>og begivenheder </a:t>
            </a:r>
            <a:r>
              <a:rPr lang="da-DK" sz="1200" u="sng" dirty="0" smtClean="0">
                <a:solidFill>
                  <a:srgbClr val="FF0000"/>
                </a:solidFill>
                <a:hlinkClick r:id="rId2"/>
              </a:rPr>
              <a:t>på roskilde.dk</a:t>
            </a:r>
          </a:p>
          <a:p>
            <a:r>
              <a:rPr lang="da-DK" sz="1200" u="sng" dirty="0" smtClean="0">
                <a:solidFill>
                  <a:srgbClr val="FF0000"/>
                </a:solidFill>
                <a:hlinkClick r:id="rId2"/>
              </a:rPr>
              <a:t>- </a:t>
            </a:r>
            <a:r>
              <a:rPr lang="da-DK" sz="1200" u="sng" dirty="0">
                <a:solidFill>
                  <a:srgbClr val="FF0000"/>
                </a:solidFill>
                <a:hlinkClick r:id="rId2"/>
              </a:rPr>
              <a:t>Gundsø Omsorgscenter </a:t>
            </a:r>
            <a:endParaRPr lang="da-DK" sz="1200" u="sng" dirty="0">
              <a:solidFill>
                <a:srgbClr val="FF0000"/>
              </a:solidFill>
            </a:endParaRPr>
          </a:p>
          <a:p>
            <a:endParaRPr lang="da-DK" sz="1200" b="1" dirty="0" smtClean="0"/>
          </a:p>
          <a:p>
            <a:r>
              <a:rPr lang="da-DK" sz="1400" b="1" dirty="0" smtClean="0"/>
              <a:t>Kørsel</a:t>
            </a:r>
          </a:p>
          <a:p>
            <a:r>
              <a:rPr lang="da-DK" sz="1200" dirty="0" smtClean="0"/>
              <a:t>Hvis du ikke selv har mulighed for at komme til Seniorhøjskolen, så er der mulighed for at blive tilmeldt kørselsordning mod betaling via din visitator.</a:t>
            </a:r>
            <a:endParaRPr lang="da-DK" sz="1200" dirty="0"/>
          </a:p>
          <a:p>
            <a:endParaRPr lang="da-DK" sz="1200" dirty="0"/>
          </a:p>
          <a:p>
            <a:r>
              <a:rPr lang="da-DK" sz="1400" b="1" dirty="0" smtClean="0"/>
              <a:t>Mad og drikke</a:t>
            </a:r>
            <a:endParaRPr lang="da-DK" sz="1400" b="1" dirty="0"/>
          </a:p>
          <a:p>
            <a:r>
              <a:rPr lang="da-DK" sz="1200" dirty="0" smtClean="0"/>
              <a:t>Mod betaling serverer vi  frisk smurt smørrebrød fra vores centrale køkken som laver maden med økologiske og friske råvarer.</a:t>
            </a:r>
          </a:p>
          <a:p>
            <a:endParaRPr lang="da-DK" sz="1200" dirty="0"/>
          </a:p>
          <a:p>
            <a:r>
              <a:rPr lang="da-DK" sz="1200" dirty="0" smtClean="0"/>
              <a:t>Det er også muligt at tilkøbe sodavand, mælk og en </a:t>
            </a:r>
            <a:r>
              <a:rPr lang="da-DK" sz="1200" dirty="0" err="1" smtClean="0"/>
              <a:t>biret</a:t>
            </a:r>
            <a:r>
              <a:rPr lang="da-DK" sz="1200" dirty="0" smtClean="0"/>
              <a:t>, som ofte består af noget lækkert sødt i form af vafler, budding, is  eller fromage.</a:t>
            </a:r>
          </a:p>
          <a:p>
            <a:endParaRPr lang="da-DK" sz="1200" dirty="0"/>
          </a:p>
          <a:p>
            <a:r>
              <a:rPr lang="da-DK" sz="1200" dirty="0" smtClean="0"/>
              <a:t>Der tilbydes altid vand/saft og morgen kaffe/te.  </a:t>
            </a:r>
          </a:p>
          <a:p>
            <a:r>
              <a:rPr lang="da-DK" sz="1200" dirty="0" smtClean="0"/>
              <a:t> </a:t>
            </a:r>
          </a:p>
          <a:p>
            <a:r>
              <a:rPr lang="da-DK" sz="1200" b="1" i="1" u="sng" dirty="0" smtClean="0"/>
              <a:t>Afmelding</a:t>
            </a:r>
            <a:r>
              <a:rPr lang="da-DK" sz="1200" dirty="0" smtClean="0"/>
              <a:t> </a:t>
            </a:r>
            <a:r>
              <a:rPr lang="da-DK" sz="1200" dirty="0"/>
              <a:t>skal ske dagen før </a:t>
            </a:r>
            <a:r>
              <a:rPr lang="da-DK" sz="1200" b="1" i="1" u="sng" dirty="0"/>
              <a:t>inden kl. 12.00</a:t>
            </a:r>
            <a:r>
              <a:rPr lang="da-DK" sz="1200" dirty="0"/>
              <a:t>, ellers opkræves der for ydelser som kørsel og </a:t>
            </a:r>
            <a:r>
              <a:rPr lang="da-DK" sz="1200" dirty="0" smtClean="0"/>
              <a:t>mad, </a:t>
            </a:r>
            <a:r>
              <a:rPr lang="da-DK" sz="1200" dirty="0"/>
              <a:t>som du er tilmeldt.</a:t>
            </a:r>
          </a:p>
          <a:p>
            <a:endParaRPr lang="da-DK" sz="1200" dirty="0" smtClean="0"/>
          </a:p>
          <a:p>
            <a:endParaRPr lang="da-DK" sz="1200" dirty="0"/>
          </a:p>
          <a:p>
            <a:endParaRPr lang="da-DK" sz="1200" dirty="0" smtClean="0"/>
          </a:p>
          <a:p>
            <a:endParaRPr lang="da-DK" sz="1200" dirty="0"/>
          </a:p>
          <a:p>
            <a:endParaRPr lang="da-DK" sz="1200" dirty="0" smtClean="0"/>
          </a:p>
          <a:p>
            <a:endParaRPr lang="da-DK" sz="1200" dirty="0"/>
          </a:p>
          <a:p>
            <a:endParaRPr lang="da-DK" sz="1200" dirty="0" smtClean="0"/>
          </a:p>
        </p:txBody>
      </p:sp>
    </p:spTree>
    <p:extLst>
      <p:ext uri="{BB962C8B-B14F-4D97-AF65-F5344CB8AC3E}">
        <p14:creationId xmlns:p14="http://schemas.microsoft.com/office/powerpoint/2010/main" val="26610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5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5 pjece" id="{B077AF56-A952-4F56-8094-6366FEBB6EC2}" vid="{099F282E-21E8-4958-9F2C-F6B8145CDAEC}"/>
    </a:ext>
  </a:extLst>
</a:theme>
</file>

<file path=ppt/theme/theme2.xml><?xml version="1.0" encoding="utf-8"?>
<a:theme xmlns:a="http://schemas.openxmlformats.org/drawingml/2006/main" name="A5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400"/>
          </a:lnSpc>
          <a:defRPr sz="1000" dirty="0">
            <a:latin typeface="Aleo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5 pjece" id="{B077AF56-A952-4F56-8094-6366FEBB6EC2}" vid="{507C87FB-B881-4E8B-8F90-486FAD5F60A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5 Pjece</Template>
  <TotalTime>12653</TotalTime>
  <Words>517</Words>
  <Application>Microsoft Office PowerPoint</Application>
  <PresentationFormat>Brugerdefineret</PresentationFormat>
  <Paragraphs>106</Paragraphs>
  <Slides>4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16" baseType="lpstr">
      <vt:lpstr>Aleo</vt:lpstr>
      <vt:lpstr>Arial</vt:lpstr>
      <vt:lpstr>Calibri</vt:lpstr>
      <vt:lpstr>Montserrat</vt:lpstr>
      <vt:lpstr>Montserrat Bold</vt:lpstr>
      <vt:lpstr>Montserrat Light</vt:lpstr>
      <vt:lpstr>Montserrat Medium</vt:lpstr>
      <vt:lpstr>Montserrat SemiBold</vt:lpstr>
      <vt:lpstr>Wingdings</vt:lpstr>
      <vt:lpstr>A5 pjece - Print selv</vt:lpstr>
      <vt:lpstr>A5 pjece - Til tryk</vt:lpstr>
      <vt:lpstr>think-cell Slide</vt:lpstr>
      <vt:lpstr>Velkommen til Seniorhøjskolen Solkrogen    </vt:lpstr>
      <vt:lpstr>PowerPoint-præsentation</vt:lpstr>
      <vt:lpstr>PowerPoint-præsentation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ernille Kapler Andersen</dc:creator>
  <cp:lastModifiedBy>Mitra Shahidi</cp:lastModifiedBy>
  <cp:revision>124</cp:revision>
  <cp:lastPrinted>2024-05-06T10:24:31Z</cp:lastPrinted>
  <dcterms:created xsi:type="dcterms:W3CDTF">2021-04-16T09:38:42Z</dcterms:created>
  <dcterms:modified xsi:type="dcterms:W3CDTF">2026-01-08T10:1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2f751b63-ff04-4b14-b7e4-baf10bffd076</vt:lpwstr>
  </property>
</Properties>
</file>